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8" r:id="rId2"/>
  </p:sldIdLst>
  <p:sldSz cx="6858000" cy="12192000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45" d="100"/>
          <a:sy n="45" d="100"/>
        </p:scale>
        <p:origin x="220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BD0503-D3DB-48A0-BF62-1543A75ECD0A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318000" y="849313"/>
            <a:ext cx="129063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992188" y="3271838"/>
            <a:ext cx="7942262" cy="2676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FF4008-4693-48A3-A4A5-1217ACCABB5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349603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tm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995312"/>
            <a:ext cx="5829300" cy="4244622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6403623"/>
            <a:ext cx="5143500" cy="2943577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smtClean="0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406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2947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649111"/>
            <a:ext cx="1478756" cy="10332156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649111"/>
            <a:ext cx="4350544" cy="10332156"/>
          </a:xfrm>
        </p:spPr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9907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586426" y="9339860"/>
            <a:ext cx="5699393" cy="2140385"/>
          </a:xfrm>
        </p:spPr>
        <p:txBody>
          <a:bodyPr>
            <a:normAutofit/>
          </a:bodyPr>
          <a:lstStyle>
            <a:lvl1pPr marL="0" indent="0" algn="l">
              <a:buNone/>
              <a:defRPr sz="1416"/>
            </a:lvl1pPr>
            <a:lvl2pPr marL="342865" indent="0" algn="ctr">
              <a:buNone/>
              <a:defRPr sz="1500"/>
            </a:lvl2pPr>
            <a:lvl3pPr marL="685729" indent="0" algn="ctr">
              <a:buNone/>
              <a:defRPr sz="1350"/>
            </a:lvl3pPr>
            <a:lvl4pPr marL="1028594" indent="0" algn="ctr">
              <a:buNone/>
              <a:defRPr sz="1200"/>
            </a:lvl4pPr>
            <a:lvl5pPr marL="1371459" indent="0" algn="ctr">
              <a:buNone/>
              <a:defRPr sz="1200"/>
            </a:lvl5pPr>
            <a:lvl6pPr marL="1714324" indent="0" algn="ctr">
              <a:buNone/>
              <a:defRPr sz="1200"/>
            </a:lvl6pPr>
            <a:lvl7pPr marL="2057188" indent="0" algn="ctr">
              <a:buNone/>
              <a:defRPr sz="1200"/>
            </a:lvl7pPr>
            <a:lvl8pPr marL="2400053" indent="0" algn="ctr">
              <a:buNone/>
              <a:defRPr sz="1200"/>
            </a:lvl8pPr>
            <a:lvl9pPr marL="2742918" indent="0" algn="ctr">
              <a:buNone/>
              <a:defRPr sz="1200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7" y="1955"/>
          <a:ext cx="1588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955"/>
                        <a:ext cx="1588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26" y="6820557"/>
            <a:ext cx="5710632" cy="2145525"/>
          </a:xfrm>
        </p:spPr>
        <p:txBody>
          <a:bodyPr vert="horz"/>
          <a:lstStyle>
            <a:lvl1pPr>
              <a:defRPr sz="4891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8" y="734798"/>
            <a:ext cx="1574540" cy="714134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270" y="2148067"/>
            <a:ext cx="5993598" cy="394793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2355" y="957625"/>
            <a:ext cx="2319377" cy="268479"/>
          </a:xfrm>
        </p:spPr>
        <p:txBody>
          <a:bodyPr>
            <a:normAutofit/>
          </a:bodyPr>
          <a:lstStyle>
            <a:lvl1pPr marL="0" indent="0" algn="r">
              <a:buNone/>
              <a:defRPr sz="1094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7087873" y="0"/>
            <a:ext cx="246446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081" y="335572"/>
            <a:ext cx="602515" cy="225484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873" y="1197223"/>
            <a:ext cx="2917124" cy="937710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7087873" y="2457858"/>
            <a:ext cx="291712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802"/>
              </a:lnSpc>
            </a:pPr>
            <a:r>
              <a:rPr lang="da-DK" sz="1030" u="sng" dirty="0">
                <a:latin typeface="Aleo" panose="00000500000000000000" pitchFamily="2" charset="0"/>
              </a:rPr>
              <a:t>HUSK</a:t>
            </a:r>
            <a:r>
              <a:rPr lang="da-DK" sz="103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7087872" y="3609312"/>
            <a:ext cx="291712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802"/>
              </a:lnSpc>
            </a:pPr>
            <a:endParaRPr lang="da-DK" sz="1030" dirty="0">
              <a:latin typeface="Aleo" panose="00000500000000000000" pitchFamily="2" charset="0"/>
            </a:endParaRP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9451" y="4466756"/>
            <a:ext cx="431979" cy="64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30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94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3039537"/>
            <a:ext cx="5915025" cy="5071532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8159048"/>
            <a:ext cx="5915025" cy="266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16457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3245556"/>
            <a:ext cx="2914650" cy="7735712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3245556"/>
            <a:ext cx="2914650" cy="7735712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9020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49114"/>
            <a:ext cx="5915025" cy="2356556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988734"/>
            <a:ext cx="2901255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4453467"/>
            <a:ext cx="2901255" cy="6550379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988734"/>
            <a:ext cx="2915543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4453467"/>
            <a:ext cx="2915543" cy="6550379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5000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26121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534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755425"/>
            <a:ext cx="3471863" cy="866422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1090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755425"/>
            <a:ext cx="3471863" cy="8664222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 smtClean="0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638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649114"/>
            <a:ext cx="5915025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3245556"/>
            <a:ext cx="5915025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FA26-0291-4B88-A454-61449F9A3392}" type="datetimeFigureOut">
              <a:rPr lang="da-DK" smtClean="0"/>
              <a:t>08-01-2026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11300181"/>
            <a:ext cx="2314575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11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2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44" y="1232461"/>
          <a:ext cx="2044" cy="20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340EE66-7CEA-402B-821C-2F754B924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44" y="1232461"/>
                        <a:ext cx="2044" cy="20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dertitel 5"/>
          <p:cNvSpPr>
            <a:spLocks noGrp="1"/>
          </p:cNvSpPr>
          <p:nvPr>
            <p:ph type="subTitle" idx="1"/>
          </p:nvPr>
        </p:nvSpPr>
        <p:spPr>
          <a:xfrm>
            <a:off x="289183" y="5100496"/>
            <a:ext cx="5710632" cy="2530749"/>
          </a:xfrm>
        </p:spPr>
        <p:txBody>
          <a:bodyPr>
            <a:normAutofit/>
          </a:bodyPr>
          <a:lstStyle/>
          <a:p>
            <a:endParaRPr lang="da-DK" sz="1600" dirty="0">
              <a:latin typeface="+mj-lt"/>
            </a:endParaRPr>
          </a:p>
          <a:p>
            <a:r>
              <a:rPr lang="da-DK" sz="1600" dirty="0">
                <a:latin typeface="+mj-lt"/>
              </a:rPr>
              <a:t>Tværfløjtenist Christine Christiansen gæster Gundsø Omsorgscenter med et program bestående </a:t>
            </a:r>
            <a:r>
              <a:rPr lang="da-DK" sz="1600" dirty="0" smtClean="0">
                <a:latin typeface="+mj-lt"/>
              </a:rPr>
              <a:t>af </a:t>
            </a:r>
            <a:r>
              <a:rPr lang="da-DK" sz="1600" dirty="0">
                <a:latin typeface="+mj-lt"/>
              </a:rPr>
              <a:t>lyse hymner, hits af bl.a. The Beatles, </a:t>
            </a:r>
            <a:r>
              <a:rPr lang="da-DK" sz="1600" dirty="0" err="1">
                <a:latin typeface="+mj-lt"/>
              </a:rPr>
              <a:t>Shubidua</a:t>
            </a:r>
            <a:r>
              <a:rPr lang="da-DK" sz="1600" dirty="0">
                <a:latin typeface="+mj-lt"/>
              </a:rPr>
              <a:t> og Kim Larsen samt iørefaldende melodier fra musicals. </a:t>
            </a:r>
            <a:br>
              <a:rPr lang="da-DK" sz="1600" dirty="0">
                <a:latin typeface="+mj-lt"/>
              </a:rPr>
            </a:br>
            <a:r>
              <a:rPr lang="da-DK" sz="1600" dirty="0">
                <a:latin typeface="+mj-lt"/>
              </a:rPr>
              <a:t>En spraglet buket af muntre toner, som lytterne kender og kan synge eller nynne med på. </a:t>
            </a:r>
            <a:endParaRPr lang="da-DK" sz="1600" dirty="0" smtClean="0">
              <a:latin typeface="+mj-lt"/>
            </a:endParaRPr>
          </a:p>
          <a:p>
            <a:r>
              <a:rPr lang="da-DK" sz="1600" dirty="0" smtClean="0">
                <a:latin typeface="+mj-lt"/>
              </a:rPr>
              <a:t>Mellem </a:t>
            </a:r>
            <a:r>
              <a:rPr lang="da-DK" sz="1600" dirty="0">
                <a:latin typeface="+mj-lt"/>
              </a:rPr>
              <a:t>stykkerne siger Christine et par ord om musikken. </a:t>
            </a:r>
          </a:p>
          <a:p>
            <a:r>
              <a:rPr lang="da-DK" sz="1600" dirty="0">
                <a:latin typeface="+mj-lt"/>
              </a:rPr>
              <a:t>Pårørende er velkommen </a:t>
            </a:r>
            <a:r>
              <a:rPr lang="da-DK" sz="1600" dirty="0" smtClean="0">
                <a:latin typeface="+mj-lt"/>
              </a:rPr>
              <a:t>og </a:t>
            </a:r>
            <a:r>
              <a:rPr lang="da-DK" sz="1600" dirty="0">
                <a:latin typeface="+mj-lt"/>
              </a:rPr>
              <a:t>det foregår i </a:t>
            </a:r>
            <a:r>
              <a:rPr lang="da-DK" sz="1600" dirty="0" smtClean="0">
                <a:latin typeface="+mj-lt"/>
              </a:rPr>
              <a:t>fællesstuen</a:t>
            </a:r>
            <a:endParaRPr lang="da-DK" sz="1600" dirty="0">
              <a:latin typeface="+mj-lt"/>
            </a:endParaRPr>
          </a:p>
          <a:p>
            <a:endParaRPr lang="da-DK" sz="1545" dirty="0">
              <a:latin typeface="Montserrat" panose="00000500000000000000" pitchFamily="2" charset="0"/>
            </a:endParaRPr>
          </a:p>
          <a:p>
            <a:endParaRPr lang="da-DK" dirty="0"/>
          </a:p>
          <a:p>
            <a:pPr>
              <a:lnSpc>
                <a:spcPct val="100000"/>
              </a:lnSpc>
            </a:pPr>
            <a:endParaRPr lang="da-DK" dirty="0">
              <a:latin typeface="Montserrat" panose="00000500000000000000" pitchFamily="2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04597" y="2238672"/>
            <a:ext cx="5710632" cy="726404"/>
          </a:xfrm>
        </p:spPr>
        <p:txBody>
          <a:bodyPr>
            <a:normAutofit/>
          </a:bodyPr>
          <a:lstStyle/>
          <a:p>
            <a:r>
              <a:rPr lang="da-DK" sz="4400" b="1" dirty="0">
                <a:solidFill>
                  <a:schemeClr val="accent6">
                    <a:lumMod val="50000"/>
                  </a:schemeClr>
                </a:solidFill>
              </a:rPr>
              <a:t>Lyt til fløjtetoner i farver</a:t>
            </a:r>
            <a:endParaRPr lang="da-DK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4"/>
          </p:nvPr>
        </p:nvSpPr>
        <p:spPr>
          <a:xfrm>
            <a:off x="3814763" y="700089"/>
            <a:ext cx="2466969" cy="526016"/>
          </a:xfrm>
        </p:spPr>
        <p:txBody>
          <a:bodyPr/>
          <a:lstStyle/>
          <a:p>
            <a:r>
              <a:rPr lang="da-DK" dirty="0" smtClean="0"/>
              <a:t>Gundsø Omsorgscenter </a:t>
            </a:r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492213" y="10397577"/>
            <a:ext cx="365787" cy="273830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18" name="Undertitel 5"/>
          <p:cNvSpPr txBox="1">
            <a:spLocks/>
          </p:cNvSpPr>
          <p:nvPr/>
        </p:nvSpPr>
        <p:spPr>
          <a:xfrm>
            <a:off x="700088" y="3309770"/>
            <a:ext cx="5299727" cy="1732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 vert="horz" lIns="0" tIns="0" rIns="0" bIns="0" rtlCol="0">
            <a:normAutofit fontScale="70000" lnSpcReduction="20000"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da-DK" sz="2000" dirty="0" smtClean="0"/>
          </a:p>
          <a:p>
            <a:pPr>
              <a:lnSpc>
                <a:spcPct val="100000"/>
              </a:lnSpc>
            </a:pPr>
            <a:r>
              <a:rPr lang="da-DK" sz="2000" dirty="0" smtClean="0"/>
              <a:t>Torsdag den 22.januar</a:t>
            </a:r>
          </a:p>
          <a:p>
            <a:pPr>
              <a:lnSpc>
                <a:spcPct val="100000"/>
              </a:lnSpc>
            </a:pPr>
            <a:r>
              <a:rPr lang="da-DK" sz="2000" dirty="0" smtClean="0"/>
              <a:t>Tirsdag 24.februar</a:t>
            </a:r>
          </a:p>
          <a:p>
            <a:pPr>
              <a:lnSpc>
                <a:spcPct val="100000"/>
              </a:lnSpc>
            </a:pPr>
            <a:r>
              <a:rPr lang="da-DK" sz="2000" dirty="0" smtClean="0"/>
              <a:t>Torsdag 19.marts</a:t>
            </a:r>
          </a:p>
          <a:p>
            <a:pPr>
              <a:lnSpc>
                <a:spcPct val="100000"/>
              </a:lnSpc>
            </a:pPr>
            <a:r>
              <a:rPr lang="da-DK" sz="2000" dirty="0" smtClean="0"/>
              <a:t>Tirsdag den 14.april</a:t>
            </a:r>
          </a:p>
          <a:p>
            <a:pPr>
              <a:lnSpc>
                <a:spcPct val="100000"/>
              </a:lnSpc>
            </a:pPr>
            <a:r>
              <a:rPr lang="da-DK" sz="1416" dirty="0"/>
              <a:t/>
            </a:r>
            <a:br>
              <a:rPr lang="da-DK" sz="1416" dirty="0"/>
            </a:br>
            <a:r>
              <a:rPr lang="da-DK" sz="2100" b="1" dirty="0"/>
              <a:t>Kl. </a:t>
            </a:r>
            <a:r>
              <a:rPr lang="da-DK" sz="2100" b="1" dirty="0" smtClean="0"/>
              <a:t>10.45 </a:t>
            </a:r>
            <a:r>
              <a:rPr lang="da-DK" sz="2100" b="1" dirty="0"/>
              <a:t>– </a:t>
            </a:r>
            <a:r>
              <a:rPr lang="da-DK" sz="2100" b="1" dirty="0" smtClean="0"/>
              <a:t>11.30</a:t>
            </a:r>
            <a:r>
              <a:rPr lang="da-DK" sz="1416" dirty="0"/>
              <a:t/>
            </a:r>
            <a:br>
              <a:rPr lang="da-DK" sz="1416" dirty="0"/>
            </a:br>
            <a:endParaRPr lang="da-DK" sz="1416" dirty="0"/>
          </a:p>
        </p:txBody>
      </p:sp>
      <p:sp>
        <p:nvSpPr>
          <p:cNvPr id="3" name="Rektangel 2"/>
          <p:cNvSpPr/>
          <p:nvPr/>
        </p:nvSpPr>
        <p:spPr>
          <a:xfrm>
            <a:off x="520012" y="4984476"/>
            <a:ext cx="5479803" cy="805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317" dirty="0"/>
              <a:t/>
            </a:r>
            <a:br>
              <a:rPr lang="da-DK" sz="2317" dirty="0"/>
            </a:br>
            <a:endParaRPr lang="da-DK" sz="2317" dirty="0"/>
          </a:p>
        </p:txBody>
      </p:sp>
      <p:pic>
        <p:nvPicPr>
          <p:cNvPr id="2052" name="Picture 4" descr="Farverige musik noder - TenStickers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1193" y="37489"/>
            <a:ext cx="3742660" cy="200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89221"/>
            <a:ext cx="7045835" cy="469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70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4</TotalTime>
  <Words>97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8" baseType="lpstr">
      <vt:lpstr>Aleo</vt:lpstr>
      <vt:lpstr>Arial</vt:lpstr>
      <vt:lpstr>Calibri</vt:lpstr>
      <vt:lpstr>Calibri Light</vt:lpstr>
      <vt:lpstr>Montserrat</vt:lpstr>
      <vt:lpstr>Office-tema</vt:lpstr>
      <vt:lpstr>think-cell Slide</vt:lpstr>
      <vt:lpstr>Lyt til fløjtetoner i farver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tra Shahidi</dc:creator>
  <cp:lastModifiedBy>Mitra Shahidi</cp:lastModifiedBy>
  <cp:revision>10</cp:revision>
  <cp:lastPrinted>2025-07-04T07:41:46Z</cp:lastPrinted>
  <dcterms:created xsi:type="dcterms:W3CDTF">2025-03-21T09:32:39Z</dcterms:created>
  <dcterms:modified xsi:type="dcterms:W3CDTF">2026-01-08T10:34:44Z</dcterms:modified>
</cp:coreProperties>
</file>